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258" r:id="rId9"/>
    <p:sldId id="314" r:id="rId10"/>
    <p:sldId id="318" r:id="rId11"/>
    <p:sldId id="260" r:id="rId12"/>
    <p:sldId id="321" r:id="rId13"/>
    <p:sldId id="261" r:id="rId14"/>
    <p:sldId id="324" r:id="rId15"/>
    <p:sldId id="322" r:id="rId16"/>
    <p:sldId id="323" r:id="rId17"/>
    <p:sldId id="315" r:id="rId18"/>
    <p:sldId id="316" r:id="rId19"/>
    <p:sldId id="319" r:id="rId20"/>
    <p:sldId id="264" r:id="rId21"/>
    <p:sldId id="265" r:id="rId22"/>
    <p:sldId id="266" r:id="rId23"/>
    <p:sldId id="267" r:id="rId24"/>
    <p:sldId id="268" r:id="rId25"/>
    <p:sldId id="269" r:id="rId26"/>
    <p:sldId id="320" r:id="rId27"/>
    <p:sldId id="270" r:id="rId28"/>
    <p:sldId id="271" r:id="rId29"/>
    <p:sldId id="272" r:id="rId30"/>
    <p:sldId id="273" r:id="rId31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321" y="-2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85737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27079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3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5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0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9.png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5" y="1487336"/>
            <a:ext cx="57504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altLang="en-US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altLang="zh-CN" sz="1600" dirty="0">
                <a:latin typeface="+mj-ea"/>
                <a:ea typeface="+mj-ea"/>
              </a:rPr>
              <a:t>Rust</a:t>
            </a:r>
            <a:r>
              <a:rPr lang="zh-CN" altLang="en-US" sz="1600" dirty="0">
                <a:latin typeface="+mj-ea"/>
                <a:ea typeface="+mj-ea"/>
              </a:rPr>
              <a:t>命名规范的版本，如“</a:t>
            </a:r>
            <a:r>
              <a:rPr lang="en-US" altLang="zh-CN" sz="14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en-US" altLang="zh-CN" sz="1600" dirty="0">
                <a:latin typeface="+mj-ea"/>
                <a:ea typeface="+mj-ea"/>
              </a:rPr>
              <a:t>”</a:t>
            </a:r>
            <a:r>
              <a:rPr lang="zh-CN" altLang="en-US" sz="1600" dirty="0">
                <a:latin typeface="+mj-ea"/>
                <a:ea typeface="+mj-ea"/>
              </a:rPr>
              <a:t>改为“</a:t>
            </a:r>
            <a:r>
              <a:rPr lang="en-US" altLang="zh-CN" sz="14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en-US" altLang="zh-CN" sz="1600" dirty="0">
                <a:latin typeface="+mj-ea"/>
                <a:ea typeface="+mj-ea"/>
              </a:rPr>
              <a:t>”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038B338-ABB1-D215-C092-245A0907410B}"/>
              </a:ext>
            </a:extLst>
          </p:cNvPr>
          <p:cNvSpPr txBox="1"/>
          <p:nvPr/>
        </p:nvSpPr>
        <p:spPr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问题：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778A7DC-212B-5FE4-0BD5-7CE0AE330B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802" y="1911023"/>
            <a:ext cx="7375985" cy="414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7600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6FB0499-F9F8-AD09-6E11-6CDAFFE5CDFC}"/>
              </a:ext>
            </a:extLst>
          </p:cNvPr>
          <p:cNvSpPr txBox="1"/>
          <p:nvPr/>
        </p:nvSpPr>
        <p:spPr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解决方案：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6A311C8-FBE1-A6E4-C0E2-4E6EB3FE5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564" y="1902055"/>
            <a:ext cx="8698981" cy="3797023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038B338-ABB1-D215-C092-245A0907410B}"/>
              </a:ext>
            </a:extLst>
          </p:cNvPr>
          <p:cNvSpPr txBox="1"/>
          <p:nvPr/>
        </p:nvSpPr>
        <p:spPr>
          <a:xfrm>
            <a:off x="533400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问题：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5959E1D-737D-C564-D076-A2CF9B0F7BAA}"/>
              </a:ext>
            </a:extLst>
          </p:cNvPr>
          <p:cNvSpPr txBox="1"/>
          <p:nvPr/>
        </p:nvSpPr>
        <p:spPr>
          <a:xfrm>
            <a:off x="533400" y="1801505"/>
            <a:ext cx="10604311" cy="2118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方案一：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方案二：手动将所有具有函数功能的宏修改为具有相同名称和功能的函数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5A81536-B547-5B2A-1F2F-E91C10420BF6}"/>
              </a:ext>
            </a:extLst>
          </p:cNvPr>
          <p:cNvSpPr txBox="1"/>
          <p:nvPr/>
        </p:nvSpPr>
        <p:spPr>
          <a:xfrm>
            <a:off x="533400" y="3126654"/>
            <a:ext cx="7663218" cy="454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由于这样的宏并不是很多，所以我们选择了方案二，下面是一个例子：</a:t>
            </a:r>
            <a:endParaRPr lang="en-US" altLang="zh-CN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63EEF72-F169-B4FA-24BC-E3BA633233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758" y="3776752"/>
            <a:ext cx="8864221" cy="252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5420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59" y="129540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2DBED4-92E0-66E0-7DC7-808FAE0F8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36C4BE1-CC0B-C8B9-5F70-0BE9E7C733F3}"/>
              </a:ext>
            </a:extLst>
          </p:cNvPr>
          <p:cNvSpPr txBox="1"/>
          <p:nvPr/>
        </p:nvSpPr>
        <p:spPr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no_std_asyn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中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88148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模块</a:t>
            </a:r>
            <a:endParaRPr lang="zh-CN" dirty="0">
              <a:latin typeface="+mj-ea"/>
            </a:endParaRPr>
          </a:p>
        </p:txBody>
      </p:sp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6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文本框 599271341"/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40787" y="8382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64453" y="8382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64453" y="808476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sp>
        <p:nvSpPr>
          <p:cNvPr id="11" name="Freeform 10"/>
          <p:cNvSpPr/>
          <p:nvPr/>
        </p:nvSpPr>
        <p:spPr bwMode="auto">
          <a:xfrm>
            <a:off x="318194" y="808476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814317" y="1003330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13493" y="2245730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557822" y="140970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32407" y="1463557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554759" y="2558756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31556" y="2565032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554759" y="369002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31556" y="3690020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554759" y="224573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554759" y="3336643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03732" y="224573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03732" y="3336643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554759" y="471833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31556" y="4718330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554759" y="4372601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03732" y="4372601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96000" y="1232019"/>
            <a:ext cx="5996012" cy="5175129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社区生态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在编译时避免了诸多内存安全问题，如空指针、野指针、数据竞争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零成本抽象和内联优化等技术实现了更高的性能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</a:t>
            </a:r>
            <a:r>
              <a:rPr lang="zh-CN" altLang="zh-CN" dirty="0"/>
              <a:t>组员</a:t>
            </a:r>
            <a:r>
              <a:rPr lang="zh-CN" altLang="zh-CN"/>
              <a:t>，参与</a:t>
            </a:r>
            <a:r>
              <a:rPr lang="en-US" altLang="zh-CN"/>
              <a:t>PPT</a:t>
            </a:r>
            <a:r>
              <a:rPr lang="zh-CN" altLang="zh-CN" dirty="0"/>
              <a:t>制作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</TotalTime>
  <Words>1624</Words>
  <Application>Microsoft Office PowerPoint</Application>
  <DocSecurity>0</DocSecurity>
  <PresentationFormat>宽屏</PresentationFormat>
  <Paragraphs>209</Paragraphs>
  <Slides>30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0</vt:i4>
      </vt:variant>
    </vt:vector>
  </HeadingPairs>
  <TitlesOfParts>
    <vt:vector size="41" baseType="lpstr">
      <vt:lpstr>等线</vt:lpstr>
      <vt:lpstr>等线 Light</vt:lpstr>
      <vt:lpstr>微软雅黑</vt:lpstr>
      <vt:lpstr>Arial</vt:lpstr>
      <vt:lpstr>Calibri</vt:lpstr>
      <vt:lpstr>Consolas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困难与解决方案</vt:lpstr>
      <vt:lpstr>Rust改写——困难与解决方案</vt:lpstr>
      <vt:lpstr>Rust改写——困难与解决方案</vt:lpstr>
      <vt:lpstr>Rust改写——困难与解决方案</vt:lpstr>
      <vt:lpstr>Rust改写——task模块</vt:lpstr>
      <vt:lpstr>Rust改写——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震宇 薄</cp:lastModifiedBy>
  <cp:revision>276</cp:revision>
  <dcterms:created xsi:type="dcterms:W3CDTF">2019-08-16T12:08:31Z</dcterms:created>
  <dcterms:modified xsi:type="dcterms:W3CDTF">2024-07-05T13:11:26Z</dcterms:modified>
  <cp:category/>
  <dc:identifier/>
  <cp:contentStatus/>
  <dc:language/>
  <cp:version/>
</cp:coreProperties>
</file>